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7272"/>
    <a:srgbClr val="F6F6F6"/>
    <a:srgbClr val="5A5A5A"/>
    <a:srgbClr val="444444"/>
    <a:srgbClr val="E5E5E5"/>
    <a:srgbClr val="A8A8A8"/>
    <a:srgbClr val="8D8D8D"/>
    <a:srgbClr val="BDBDBD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7F690019-1E7A-4320-B6E8-C125EAC36600}"/>
    <pc:docChg chg="modSld">
      <pc:chgData name="Meyer Raphael (PAR-ES)" userId="79615dfe-ed48-4e74-a40f-4f7b034c1c27" providerId="ADAL" clId="{7F690019-1E7A-4320-B6E8-C125EAC36600}" dt="2022-03-09T16:25:09.230" v="0" actId="692"/>
      <pc:docMkLst>
        <pc:docMk/>
      </pc:docMkLst>
      <pc:sldChg chg="modSp">
        <pc:chgData name="Meyer Raphael (PAR-ES)" userId="79615dfe-ed48-4e74-a40f-4f7b034c1c27" providerId="ADAL" clId="{7F690019-1E7A-4320-B6E8-C125EAC36600}" dt="2022-03-09T16:25:09.230" v="0" actId="692"/>
        <pc:sldMkLst>
          <pc:docMk/>
          <pc:sldMk cId="2543225151" sldId="405"/>
        </pc:sldMkLst>
        <pc:graphicFrameChg chg="mod">
          <ac:chgData name="Meyer Raphael (PAR-ES)" userId="79615dfe-ed48-4e74-a40f-4f7b034c1c27" providerId="ADAL" clId="{7F690019-1E7A-4320-B6E8-C125EAC36600}" dt="2022-03-09T16:25:09.230" v="0" actId="692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6DC46216-0C43-43E9-842A-1C620F326D3C}"/>
    <pc:docChg chg="modSld">
      <pc:chgData name="Weigel Stefan (PAR-EPS)" userId="fd3b2067-2981-4ad8-bf3a-d2e1004e4fa8" providerId="ADAL" clId="{6DC46216-0C43-43E9-842A-1C620F326D3C}" dt="2024-02-28T08:51:56.717" v="50" actId="554"/>
      <pc:docMkLst>
        <pc:docMk/>
      </pc:docMkLst>
      <pc:sldChg chg="modSp mod">
        <pc:chgData name="Weigel Stefan (PAR-EPS)" userId="fd3b2067-2981-4ad8-bf3a-d2e1004e4fa8" providerId="ADAL" clId="{6DC46216-0C43-43E9-842A-1C620F326D3C}" dt="2024-02-28T08:51:56.717" v="50" actId="554"/>
        <pc:sldMkLst>
          <pc:docMk/>
          <pc:sldMk cId="2543225151" sldId="405"/>
        </pc:sldMkLst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7" creationId="{3D334280-6DD2-4055-8D55-795F939CC5BB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FA63FF8F-388F-4DEF-A5E5-D4581CB8C466}"/>
    <pc:docChg chg="modSld">
      <pc:chgData name="Weigel Stefan (PAR-EPS)" userId="fd3b2067-2981-4ad8-bf3a-d2e1004e4fa8" providerId="ADAL" clId="{FA63FF8F-388F-4DEF-A5E5-D4581CB8C466}" dt="2024-04-08T14:19:19.171" v="11" actId="554"/>
      <pc:docMkLst>
        <pc:docMk/>
      </pc:docMkLst>
      <pc:sldChg chg="modSp mod setBg">
        <pc:chgData name="Weigel Stefan (PAR-EPS)" userId="fd3b2067-2981-4ad8-bf3a-d2e1004e4fa8" providerId="ADAL" clId="{FA63FF8F-388F-4DEF-A5E5-D4581CB8C466}" dt="2024-04-08T14:19:19.171" v="11" actId="554"/>
        <pc:sldMkLst>
          <pc:docMk/>
          <pc:sldMk cId="2543225151" sldId="405"/>
        </pc:sldMkLst>
        <pc:spChg chg="mod">
          <ac:chgData name="Weigel Stefan (PAR-EPS)" userId="fd3b2067-2981-4ad8-bf3a-d2e1004e4fa8" providerId="ADAL" clId="{FA63FF8F-388F-4DEF-A5E5-D4581CB8C466}" dt="2024-04-08T14:19:19.171" v="11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A63FF8F-388F-4DEF-A5E5-D4581CB8C466}" dt="2024-04-08T14:19:19.171" v="11" actId="554"/>
          <ac:spMkLst>
            <pc:docMk/>
            <pc:sldMk cId="2543225151" sldId="405"/>
            <ac:spMk id="7" creationId="{3D334280-6DD2-4055-8D55-795F939CC5BB}"/>
          </ac:spMkLst>
        </pc:spChg>
        <pc:graphicFrameChg chg="mod">
          <ac:chgData name="Weigel Stefan (PAR-EPS)" userId="fd3b2067-2981-4ad8-bf3a-d2e1004e4fa8" providerId="ADAL" clId="{FA63FF8F-388F-4DEF-A5E5-D4581CB8C466}" dt="2024-04-08T14:19:00.458" v="10" actId="20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S)" userId="fd3b2067-2981-4ad8-bf3a-d2e1004e4fa8" providerId="ADAL" clId="{13149D6F-E9AD-4CF4-AC96-412CEC4FA8FC}"/>
    <pc:docChg chg="modSld">
      <pc:chgData name="Weigel Stefan (PAR-ES)" userId="fd3b2067-2981-4ad8-bf3a-d2e1004e4fa8" providerId="ADAL" clId="{13149D6F-E9AD-4CF4-AC96-412CEC4FA8FC}" dt="2023-01-17T12:22:45.521" v="7"/>
      <pc:docMkLst>
        <pc:docMk/>
      </pc:docMkLst>
      <pc:sldChg chg="modSp mod">
        <pc:chgData name="Weigel Stefan (PAR-ES)" userId="fd3b2067-2981-4ad8-bf3a-d2e1004e4fa8" providerId="ADAL" clId="{13149D6F-E9AD-4CF4-AC96-412CEC4FA8FC}" dt="2023-01-17T12:22:45.521" v="7"/>
        <pc:sldMkLst>
          <pc:docMk/>
          <pc:sldMk cId="2543225151" sldId="405"/>
        </pc:sldMkLst>
        <pc:graphicFrameChg chg="mod">
          <ac:chgData name="Weigel Stefan (PAR-ES)" userId="fd3b2067-2981-4ad8-bf3a-d2e1004e4fa8" providerId="ADAL" clId="{13149D6F-E9AD-4CF4-AC96-412CEC4FA8FC}" dt="2023-01-17T12:22:45.521" v="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8B366CC6-7EFF-468D-AD20-42F6B0325E30}"/>
    <pc:docChg chg="modSld">
      <pc:chgData name="Weigel Stefan (PAR-EPS)" userId="fd3b2067-2981-4ad8-bf3a-d2e1004e4fa8" providerId="ADAL" clId="{8B366CC6-7EFF-468D-AD20-42F6B0325E30}" dt="2024-02-28T13:02:37.968" v="17" actId="27918"/>
      <pc:docMkLst>
        <pc:docMk/>
      </pc:docMkLst>
      <pc:sldChg chg="modSp mod">
        <pc:chgData name="Weigel Stefan (PAR-EPS)" userId="fd3b2067-2981-4ad8-bf3a-d2e1004e4fa8" providerId="ADAL" clId="{8B366CC6-7EFF-468D-AD20-42F6B0325E30}" dt="2024-02-28T13:02:37.968" v="17" actId="27918"/>
        <pc:sldMkLst>
          <pc:docMk/>
          <pc:sldMk cId="2543225151" sldId="405"/>
        </pc:sldMkLst>
        <pc:spChg chg="mod">
          <ac:chgData name="Weigel Stefan (PAR-EPS)" userId="fd3b2067-2981-4ad8-bf3a-d2e1004e4fa8" providerId="ADAL" clId="{8B366CC6-7EFF-468D-AD20-42F6B0325E30}" dt="2024-02-28T08:54:26.230" v="0"/>
          <ac:spMkLst>
            <pc:docMk/>
            <pc:sldMk cId="2543225151" sldId="40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B366CC6-7EFF-468D-AD20-42F6B0325E30}" dt="2024-02-28T08:54:32.461" v="1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670DFBB7-2B1F-4D67-AF0B-9E7EEC3FA163}"/>
    <pc:docChg chg="modSld">
      <pc:chgData name="Weigel Stefan (PAR-EPS)" userId="fd3b2067-2981-4ad8-bf3a-d2e1004e4fa8" providerId="ADAL" clId="{670DFBB7-2B1F-4D67-AF0B-9E7EEC3FA163}" dt="2025-02-21T09:30:16.891" v="7" actId="27918"/>
      <pc:docMkLst>
        <pc:docMk/>
      </pc:docMkLst>
      <pc:sldChg chg="modSp mod">
        <pc:chgData name="Weigel Stefan (PAR-EPS)" userId="fd3b2067-2981-4ad8-bf3a-d2e1004e4fa8" providerId="ADAL" clId="{670DFBB7-2B1F-4D67-AF0B-9E7EEC3FA163}" dt="2025-02-21T09:30:16.891" v="7" actId="27918"/>
        <pc:sldMkLst>
          <pc:docMk/>
          <pc:sldMk cId="2543225151" sldId="405"/>
        </pc:sldMkLst>
        <pc:spChg chg="mod">
          <ac:chgData name="Weigel Stefan (PAR-EPS)" userId="fd3b2067-2981-4ad8-bf3a-d2e1004e4fa8" providerId="ADAL" clId="{670DFBB7-2B1F-4D67-AF0B-9E7EEC3FA163}" dt="2025-02-21T09:30:05.927" v="4" actId="1037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327EBCB-07DD-4905-80C5-E5F8D666D7A4}"/>
    <pc:docChg chg="modSld">
      <pc:chgData name="Meyer Raphael (PAR-ES)" userId="79615dfe-ed48-4e74-a40f-4f7b034c1c27" providerId="ADAL" clId="{E327EBCB-07DD-4905-80C5-E5F8D666D7A4}" dt="2023-03-10T14:58:20.822" v="0" actId="6549"/>
      <pc:docMkLst>
        <pc:docMk/>
      </pc:docMkLst>
      <pc:sldChg chg="modSp mod">
        <pc:chgData name="Meyer Raphael (PAR-ES)" userId="79615dfe-ed48-4e74-a40f-4f7b034c1c27" providerId="ADAL" clId="{E327EBCB-07DD-4905-80C5-E5F8D666D7A4}" dt="2023-03-10T14:58:20.822" v="0" actId="6549"/>
        <pc:sldMkLst>
          <pc:docMk/>
          <pc:sldMk cId="2543225151" sldId="405"/>
        </pc:sldMkLst>
        <pc:spChg chg="mod">
          <ac:chgData name="Meyer Raphael (PAR-ES)" userId="79615dfe-ed48-4e74-a40f-4f7b034c1c27" providerId="ADAL" clId="{E327EBCB-07DD-4905-80C5-E5F8D666D7A4}" dt="2023-03-10T14:58:20.822" v="0" actId="6549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Mercato Viaggiatori e Produzione Viaggiatori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84821249399999998</c:v>
                </c:pt>
                <c:pt idx="1">
                  <c:v>0.8283368277230001</c:v>
                </c:pt>
                <c:pt idx="2">
                  <c:v>0.57791295489000005</c:v>
                </c:pt>
                <c:pt idx="3">
                  <c:v>0.72153651090999993</c:v>
                </c:pt>
                <c:pt idx="4">
                  <c:v>0.75046792439999999</c:v>
                </c:pt>
                <c:pt idx="5">
                  <c:v>0.89454509217</c:v>
                </c:pt>
                <c:pt idx="6">
                  <c:v>1.1871844599050101</c:v>
                </c:pt>
                <c:pt idx="7">
                  <c:v>0.93675952575999999</c:v>
                </c:pt>
                <c:pt idx="8">
                  <c:v>0.80510579250657099</c:v>
                </c:pt>
                <c:pt idx="9">
                  <c:v>0.68115935371000003</c:v>
                </c:pt>
                <c:pt idx="10">
                  <c:v>0.99635057498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0.45806077000000001</c:v>
                </c:pt>
                <c:pt idx="1">
                  <c:v>0.55061685219000001</c:v>
                </c:pt>
                <c:pt idx="2">
                  <c:v>0.55449757157000001</c:v>
                </c:pt>
                <c:pt idx="3">
                  <c:v>0.68340522972999995</c:v>
                </c:pt>
                <c:pt idx="4">
                  <c:v>0.61872345032999998</c:v>
                </c:pt>
                <c:pt idx="5">
                  <c:v>0.58587582732999999</c:v>
                </c:pt>
                <c:pt idx="6">
                  <c:v>0.46327612801000001</c:v>
                </c:pt>
                <c:pt idx="7">
                  <c:v>0.41223381136000004</c:v>
                </c:pt>
                <c:pt idx="8">
                  <c:v>0.50162527670000001</c:v>
                </c:pt>
                <c:pt idx="9">
                  <c:v>0.57835182270999996</c:v>
                </c:pt>
                <c:pt idx="10">
                  <c:v>0.46478766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Traffico merci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.000</c:formatCode>
                <c:ptCount val="11"/>
                <c:pt idx="0">
                  <c:v>1.5886504370000002E-2</c:v>
                </c:pt>
                <c:pt idx="1">
                  <c:v>2.7714453720000001E-2</c:v>
                </c:pt>
                <c:pt idx="2">
                  <c:v>1.8395506739999998E-2</c:v>
                </c:pt>
                <c:pt idx="3">
                  <c:v>3.0482708840000001E-2</c:v>
                </c:pt>
                <c:pt idx="4">
                  <c:v>3.3709855660000003E-2</c:v>
                </c:pt>
                <c:pt idx="5">
                  <c:v>3.41360847E-2</c:v>
                </c:pt>
                <c:pt idx="6">
                  <c:v>3.7950270030480501E-2</c:v>
                </c:pt>
                <c:pt idx="7">
                  <c:v>3.1848191114242905E-2</c:v>
                </c:pt>
                <c:pt idx="8">
                  <c:v>1.7805723632602698E-2</c:v>
                </c:pt>
                <c:pt idx="9">
                  <c:v>2.3656667707650202E-2</c:v>
                </c:pt>
                <c:pt idx="10">
                  <c:v>4.72275502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ttura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#,##0.000</c:formatCode>
                <c:ptCount val="11"/>
                <c:pt idx="0">
                  <c:v>2.0842433488999998</c:v>
                </c:pt>
                <c:pt idx="1">
                  <c:v>2.1402772349300001</c:v>
                </c:pt>
                <c:pt idx="2">
                  <c:v>5.7711939926399998</c:v>
                </c:pt>
                <c:pt idx="3">
                  <c:v>2.0749476292</c:v>
                </c:pt>
                <c:pt idx="4">
                  <c:v>2.1382653223300001</c:v>
                </c:pt>
                <c:pt idx="5">
                  <c:v>2.9930333324100005</c:v>
                </c:pt>
                <c:pt idx="6">
                  <c:v>3.6330772980699999</c:v>
                </c:pt>
                <c:pt idx="7">
                  <c:v>2.0585050420300002</c:v>
                </c:pt>
                <c:pt idx="8">
                  <c:v>3.0301850943600002</c:v>
                </c:pt>
                <c:pt idx="9">
                  <c:v>2.36938620957</c:v>
                </c:pt>
                <c:pt idx="10">
                  <c:v>2.32032784214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Settori centrali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#,##0.000</c:formatCode>
                <c:ptCount val="11"/>
                <c:pt idx="0">
                  <c:v>5.6085001286000004E-2</c:v>
                </c:pt>
                <c:pt idx="1">
                  <c:v>4.939953129E-2</c:v>
                </c:pt>
                <c:pt idx="2">
                  <c:v>3.3320021060000003E-2</c:v>
                </c:pt>
                <c:pt idx="3">
                  <c:v>2.878219374E-2</c:v>
                </c:pt>
                <c:pt idx="4">
                  <c:v>2.2944197750000003E-2</c:v>
                </c:pt>
                <c:pt idx="5">
                  <c:v>2.6484992200000002E-2</c:v>
                </c:pt>
                <c:pt idx="6">
                  <c:v>2.0499518179999999E-2</c:v>
                </c:pt>
                <c:pt idx="7">
                  <c:v>3.0299639320000002E-2</c:v>
                </c:pt>
                <c:pt idx="8">
                  <c:v>3.7238405299999999E-2</c:v>
                </c:pt>
                <c:pt idx="9">
                  <c:v>4.3917000669999998E-2</c:v>
                </c:pt>
                <c:pt idx="10">
                  <c:v>4.173807833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7363</cdr:x>
      <cdr:y>0.0829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438"/>
          <a:ext cx="74756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ia di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crementi di immobilizzi iscritti a bilancio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358145047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666370" y="6073976"/>
            <a:ext cx="6921695" cy="39604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Incrementi di immobilizzi materiali e immateriali attivabili iscritti a bilancio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564C28A-0B6D-4C2D-A1FC-7B1EBF7753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elements/1.1/"/>
    <ds:schemaRef ds:uri="96e82a89-ba48-4728-b345-cf206dbec8f1"/>
    <ds:schemaRef ds:uri="2f5c8543-cf23-4718-a3b8-32b0a91d511a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Incrementi di immobilizzi iscritti a bilancio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menti di immobilizzi iscritti a bilancio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